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7ABC83-2652-2F43-824F-BED35570A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EBC8A33-D350-0D90-D4F3-CFD8D7778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BC8A33-D350-0D90-D4F3-CFD8D7778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A6C3D3-FCB6-1A53-C456-99B8387BC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C2CFEE-F498-3335-310B-8DD997AFE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7A13CF7-6930-1DFD-9E02-DE06C26E62B5}"/>
              </a:ext>
            </a:extLst>
          </p:cNvPr>
          <p:cNvSpPr/>
          <p:nvPr/>
        </p:nvSpPr>
        <p:spPr>
          <a:xfrm>
            <a:off x="9906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C747B0-772E-D215-3507-0376528D900B}"/>
              </a:ext>
            </a:extLst>
          </p:cNvPr>
          <p:cNvSpPr/>
          <p:nvPr/>
        </p:nvSpPr>
        <p:spPr>
          <a:xfrm>
            <a:off x="758386" y="1745547"/>
            <a:ext cx="469284" cy="485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EDE7B84-3B03-C024-01C2-CA622DDF2323}"/>
              </a:ext>
            </a:extLst>
          </p:cNvPr>
          <p:cNvSpPr/>
          <p:nvPr/>
        </p:nvSpPr>
        <p:spPr>
          <a:xfrm>
            <a:off x="4762500" y="14521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5786F3-4CC9-9C5C-785F-B3CA3DF29E34}"/>
              </a:ext>
            </a:extLst>
          </p:cNvPr>
          <p:cNvSpPr/>
          <p:nvPr/>
        </p:nvSpPr>
        <p:spPr>
          <a:xfrm>
            <a:off x="4530286" y="1745547"/>
            <a:ext cx="469284" cy="4854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0F8D6EE-D73E-4087-5A99-7CCBB8F1F6E9}"/>
              </a:ext>
            </a:extLst>
          </p:cNvPr>
          <p:cNvSpPr/>
          <p:nvPr/>
        </p:nvSpPr>
        <p:spPr>
          <a:xfrm>
            <a:off x="8534400" y="144455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6D2FAD-8A84-268C-2845-7597C310ABB0}"/>
              </a:ext>
            </a:extLst>
          </p:cNvPr>
          <p:cNvSpPr/>
          <p:nvPr/>
        </p:nvSpPr>
        <p:spPr>
          <a:xfrm>
            <a:off x="8302186" y="1737927"/>
            <a:ext cx="469284" cy="4854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39027AE-2A3C-75FD-8C51-3E7136197686}"/>
              </a:ext>
            </a:extLst>
          </p:cNvPr>
          <p:cNvSpPr/>
          <p:nvPr/>
        </p:nvSpPr>
        <p:spPr>
          <a:xfrm>
            <a:off x="9906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87B59E-F3D0-08B4-D6FC-15F77FC8B1A0}"/>
              </a:ext>
            </a:extLst>
          </p:cNvPr>
          <p:cNvSpPr/>
          <p:nvPr/>
        </p:nvSpPr>
        <p:spPr>
          <a:xfrm>
            <a:off x="758386" y="4336347"/>
            <a:ext cx="469284" cy="4854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latin typeface="+mj-lt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F649AE8-4A08-9CA0-1341-F74586A4026C}"/>
              </a:ext>
            </a:extLst>
          </p:cNvPr>
          <p:cNvSpPr/>
          <p:nvPr/>
        </p:nvSpPr>
        <p:spPr>
          <a:xfrm>
            <a:off x="47625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A99964-C00E-199A-9BF2-FA36528C8C13}"/>
              </a:ext>
            </a:extLst>
          </p:cNvPr>
          <p:cNvSpPr/>
          <p:nvPr/>
        </p:nvSpPr>
        <p:spPr>
          <a:xfrm>
            <a:off x="4530286" y="4336347"/>
            <a:ext cx="469284" cy="4854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D753F99-0BC3-8301-421E-BF101DFF353E}"/>
              </a:ext>
            </a:extLst>
          </p:cNvPr>
          <p:cNvSpPr/>
          <p:nvPr/>
        </p:nvSpPr>
        <p:spPr>
          <a:xfrm>
            <a:off x="8534400" y="4042977"/>
            <a:ext cx="2667000" cy="2065020"/>
          </a:xfrm>
          <a:custGeom>
            <a:avLst/>
            <a:gdLst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764030 h 2065020"/>
              <a:gd name="connsiteX0" fmla="*/ 0 w 2667000"/>
              <a:gd name="connsiteY0" fmla="*/ 293370 h 2065020"/>
              <a:gd name="connsiteX1" fmla="*/ 0 w 2667000"/>
              <a:gd name="connsiteY1" fmla="*/ 0 h 2065020"/>
              <a:gd name="connsiteX2" fmla="*/ 2667000 w 2667000"/>
              <a:gd name="connsiteY2" fmla="*/ 0 h 2065020"/>
              <a:gd name="connsiteX3" fmla="*/ 2667000 w 2667000"/>
              <a:gd name="connsiteY3" fmla="*/ 2065020 h 2065020"/>
              <a:gd name="connsiteX4" fmla="*/ 0 w 2667000"/>
              <a:gd name="connsiteY4" fmla="*/ 2065020 h 2065020"/>
              <a:gd name="connsiteX5" fmla="*/ 0 w 2667000"/>
              <a:gd name="connsiteY5" fmla="*/ 1889760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0" h="2065020">
                <a:moveTo>
                  <a:pt x="0" y="293370"/>
                </a:moveTo>
                <a:lnTo>
                  <a:pt x="0" y="0"/>
                </a:lnTo>
                <a:lnTo>
                  <a:pt x="2667000" y="0"/>
                </a:lnTo>
                <a:lnTo>
                  <a:pt x="2667000" y="2065020"/>
                </a:lnTo>
                <a:lnTo>
                  <a:pt x="0" y="2065020"/>
                </a:lnTo>
                <a:lnTo>
                  <a:pt x="0" y="1889760"/>
                </a:lnTo>
              </a:path>
            </a:pathLst>
          </a:cu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BED46F-8DD9-B829-CD8F-7071FE808FAF}"/>
              </a:ext>
            </a:extLst>
          </p:cNvPr>
          <p:cNvSpPr/>
          <p:nvPr/>
        </p:nvSpPr>
        <p:spPr>
          <a:xfrm>
            <a:off x="8302186" y="4336347"/>
            <a:ext cx="469284" cy="4854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260AB72-720D-A4FC-869F-DD869A09B9B9}"/>
              </a:ext>
            </a:extLst>
          </p:cNvPr>
          <p:cNvSpPr txBox="1">
            <a:spLocks/>
          </p:cNvSpPr>
          <p:nvPr/>
        </p:nvSpPr>
        <p:spPr>
          <a:xfrm>
            <a:off x="1312956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07598FC-0DEA-5E05-8105-176EF97F3A05}"/>
              </a:ext>
            </a:extLst>
          </p:cNvPr>
          <p:cNvSpPr txBox="1">
            <a:spLocks/>
          </p:cNvSpPr>
          <p:nvPr/>
        </p:nvSpPr>
        <p:spPr>
          <a:xfrm>
            <a:off x="1312956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F2EB70-4BCD-CD22-7825-3A681DBE4D41}"/>
              </a:ext>
            </a:extLst>
          </p:cNvPr>
          <p:cNvSpPr txBox="1">
            <a:spLocks/>
          </p:cNvSpPr>
          <p:nvPr/>
        </p:nvSpPr>
        <p:spPr>
          <a:xfrm>
            <a:off x="5081314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B49D294-0372-18E7-4A42-7820F7DB3C22}"/>
              </a:ext>
            </a:extLst>
          </p:cNvPr>
          <p:cNvSpPr txBox="1">
            <a:spLocks/>
          </p:cNvSpPr>
          <p:nvPr/>
        </p:nvSpPr>
        <p:spPr>
          <a:xfrm>
            <a:off x="5081314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082C9F9-8BA1-E360-C139-0E4364CF5D57}"/>
              </a:ext>
            </a:extLst>
          </p:cNvPr>
          <p:cNvSpPr txBox="1">
            <a:spLocks/>
          </p:cNvSpPr>
          <p:nvPr/>
        </p:nvSpPr>
        <p:spPr>
          <a:xfrm>
            <a:off x="8849673" y="17455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F972A95-6EFE-AD69-72B4-38EA2215F9B3}"/>
              </a:ext>
            </a:extLst>
          </p:cNvPr>
          <p:cNvSpPr txBox="1">
            <a:spLocks/>
          </p:cNvSpPr>
          <p:nvPr/>
        </p:nvSpPr>
        <p:spPr>
          <a:xfrm>
            <a:off x="8849673" y="4336347"/>
            <a:ext cx="2192244" cy="163449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98792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1</TotalTime>
  <Words>32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03</cp:revision>
  <dcterms:created xsi:type="dcterms:W3CDTF">2021-03-31T02:49:57Z</dcterms:created>
  <dcterms:modified xsi:type="dcterms:W3CDTF">2025-10-15T08:34:59Z</dcterms:modified>
  <cp:category/>
</cp:coreProperties>
</file>